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52" r:id="rId5"/>
  </p:sldMasterIdLst>
  <p:notesMasterIdLst>
    <p:notesMasterId r:id="rId21"/>
  </p:notesMasterIdLst>
  <p:handoutMasterIdLst>
    <p:handoutMasterId r:id="rId22"/>
  </p:handoutMasterIdLst>
  <p:sldIdLst>
    <p:sldId id="311" r:id="rId6"/>
    <p:sldId id="302" r:id="rId7"/>
    <p:sldId id="279" r:id="rId8"/>
    <p:sldId id="317" r:id="rId9"/>
    <p:sldId id="312" r:id="rId10"/>
    <p:sldId id="306" r:id="rId11"/>
    <p:sldId id="280" r:id="rId12"/>
    <p:sldId id="313" r:id="rId13"/>
    <p:sldId id="314" r:id="rId14"/>
    <p:sldId id="316" r:id="rId15"/>
    <p:sldId id="319" r:id="rId16"/>
    <p:sldId id="318" r:id="rId17"/>
    <p:sldId id="315" r:id="rId18"/>
    <p:sldId id="303" r:id="rId19"/>
    <p:sldId id="307" r:id="rId20"/>
  </p:sldIdLst>
  <p:sldSz cx="12192000" cy="6858000"/>
  <p:notesSz cx="6858000" cy="91440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1ECAF1D-4888-7AF9-99EC-E694532B3A9D}" name="Camille Shah" initials="CS" userId="S::ShahC@eskom.co.za::b49c16eb-9c2f-4076-ae16-294c29ffbf0a" providerId="AD"/>
  <p188:author id="{1BB4004C-EA86-176F-B3D2-BEBA069F5769}" name="Stefanie Mpiyakhe" initials="SM" userId="S::stef@bravegroup.co.za::5232a352-55aa-490d-a92f-c050863fe62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3795B"/>
    <a:srgbClr val="83725B"/>
    <a:srgbClr val="0DB02B"/>
    <a:srgbClr val="C97A00"/>
    <a:srgbClr val="D69B40"/>
    <a:srgbClr val="CDB6AA"/>
    <a:srgbClr val="ACC3C3"/>
    <a:srgbClr val="E4BC7F"/>
    <a:srgbClr val="C2C382"/>
    <a:srgbClr val="CA998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95" d="100"/>
          <a:sy n="95" d="100"/>
        </p:scale>
        <p:origin x="163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97" d="100"/>
          <a:sy n="97" d="100"/>
        </p:scale>
        <p:origin x="4328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gs" Target="tags/tag1.xml"/><Relationship Id="rId28" Type="http://schemas.microsoft.com/office/2018/10/relationships/authors" Target="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8E72FB2-3048-A3E8-FAC4-1A154E9EBC7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F23EC01-58E5-F53E-1D93-72866D06812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080778-C05C-3E46-9B06-74AA136A7A40}" type="datetimeFigureOut">
              <a:rPr lang="en-US" smtClean="0"/>
              <a:t>6/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6FACD4-124B-05EE-B114-66B0345F22A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20B63DF-093C-F399-FB34-69C3F05943E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0EA1C4-6C35-F64A-BE83-0706739C5F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40297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FE79EC-29B1-4A54-B46B-ADFA5C0A41D5}" type="datetimeFigureOut">
              <a:rPr lang="en-ZA" smtClean="0"/>
              <a:t>2025/06/04</a:t>
            </a:fld>
            <a:endParaRPr lang="en-Z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ZA" dirty="0"/>
              <a:t>Edit Master text styles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CA291F-663B-47B1-87DD-51E5B01DA0AE}" type="slidenum">
              <a:rPr lang="en-ZA" smtClean="0"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3856458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2.bin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5.png"/><Relationship Id="rId11" Type="http://schemas.openxmlformats.org/officeDocument/2006/relationships/image" Target="../media/image8.png"/><Relationship Id="rId5" Type="http://schemas.microsoft.com/office/2007/relationships/hdphoto" Target="../media/hdphoto1.wdp"/><Relationship Id="rId10" Type="http://schemas.openxmlformats.org/officeDocument/2006/relationships/image" Target="../media/image7.emf"/><Relationship Id="rId4" Type="http://schemas.openxmlformats.org/officeDocument/2006/relationships/image" Target="../media/image4.png"/><Relationship Id="rId9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28C384E3-682C-97FF-03B3-8B2EB97FA4E1}"/>
              </a:ext>
            </a:extLst>
          </p:cNvPr>
          <p:cNvGrpSpPr/>
          <p:nvPr userDrawn="1"/>
        </p:nvGrpSpPr>
        <p:grpSpPr>
          <a:xfrm>
            <a:off x="-636" y="0"/>
            <a:ext cx="4184940" cy="4668934"/>
            <a:chOff x="-636" y="-2959"/>
            <a:chExt cx="4184940" cy="4668934"/>
          </a:xfrm>
        </p:grpSpPr>
        <p:pic>
          <p:nvPicPr>
            <p:cNvPr id="16" name="Picture 15" descr="A power lines in a tower&#10;&#10;Description automatically generated">
              <a:extLst>
                <a:ext uri="{FF2B5EF4-FFF2-40B4-BE49-F238E27FC236}">
                  <a16:creationId xmlns:a16="http://schemas.microsoft.com/office/drawing/2014/main" id="{D958CFEE-012D-A177-84C7-E1BFD9FB500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harpenSoften amount="-1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636" y="18566"/>
              <a:ext cx="4184940" cy="4647409"/>
            </a:xfrm>
            <a:prstGeom prst="rect">
              <a:avLst/>
            </a:prstGeom>
            <a:noFill/>
          </p:spPr>
        </p:pic>
        <p:pic>
          <p:nvPicPr>
            <p:cNvPr id="17" name="Picture 16" descr="A black and white gradient&#10;&#10;Description automatically generated">
              <a:extLst>
                <a:ext uri="{FF2B5EF4-FFF2-40B4-BE49-F238E27FC236}">
                  <a16:creationId xmlns:a16="http://schemas.microsoft.com/office/drawing/2014/main" id="{6F434B16-A25E-E98B-6B5D-C5C56B2572A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156" y="-2959"/>
              <a:ext cx="3855270" cy="3784661"/>
            </a:xfrm>
            <a:prstGeom prst="rect">
              <a:avLst/>
            </a:prstGeom>
          </p:spPr>
        </p:pic>
      </p:grp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66486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B085070-5ABA-31E7-632F-0611553009D7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35" y="4132045"/>
            <a:ext cx="12192636" cy="2476628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7AF18338-7987-F843-7A24-C7E061E84633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ADCA0E0D-5B64-74B1-53A1-0C50886223E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18049" y="1404739"/>
            <a:ext cx="7117691" cy="676275"/>
          </a:xfrm>
          <a:prstGeom prst="rect">
            <a:avLst/>
          </a:prstGeom>
        </p:spPr>
        <p:txBody>
          <a:bodyPr/>
          <a:lstStyle>
            <a:lvl1pPr algn="r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of </a:t>
            </a:r>
            <a:r>
              <a:rPr lang="en-US" b="1" dirty="0"/>
              <a:t>Presentat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8379FC9-C387-DD8C-52E9-C25ED198D7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59" t="-705" r="-3001" b="-22840"/>
          <a:stretch/>
        </p:blipFill>
        <p:spPr>
          <a:xfrm>
            <a:off x="456262" y="2081012"/>
            <a:ext cx="4092879" cy="440882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A448A29-B601-0621-9471-E45F823A0772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579" y="3929371"/>
            <a:ext cx="2264704" cy="2028811"/>
          </a:xfrm>
          <a:prstGeom prst="rect">
            <a:avLst/>
          </a:prstGeom>
        </p:spPr>
      </p:pic>
      <p:sp>
        <p:nvSpPr>
          <p:cNvPr id="13" name="Picture Placeholder 101">
            <a:extLst>
              <a:ext uri="{FF2B5EF4-FFF2-40B4-BE49-F238E27FC236}">
                <a16:creationId xmlns:a16="http://schemas.microsoft.com/office/drawing/2014/main" id="{BC1898AE-013E-77BB-BCCC-81D7F552561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4199" y="3996036"/>
            <a:ext cx="1895476" cy="1895476"/>
          </a:xfrm>
          <a:prstGeom prst="ellipse">
            <a:avLst/>
          </a:prstGeom>
          <a:solidFill>
            <a:srgbClr val="C97A00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here to insert image</a:t>
            </a:r>
          </a:p>
        </p:txBody>
      </p:sp>
      <p:sp>
        <p:nvSpPr>
          <p:cNvPr id="14" name="Picture Placeholder 14">
            <a:extLst>
              <a:ext uri="{FF2B5EF4-FFF2-40B4-BE49-F238E27FC236}">
                <a16:creationId xmlns:a16="http://schemas.microsoft.com/office/drawing/2014/main" id="{DF052B9A-363A-5767-AF94-AFD6A8202CA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90499" y="2213886"/>
            <a:ext cx="3305746" cy="3305746"/>
          </a:xfrm>
          <a:custGeom>
            <a:avLst/>
            <a:gdLst>
              <a:gd name="connsiteX0" fmla="*/ 1652873 w 3305746"/>
              <a:gd name="connsiteY0" fmla="*/ 0 h 3305746"/>
              <a:gd name="connsiteX1" fmla="*/ 3305746 w 3305746"/>
              <a:gd name="connsiteY1" fmla="*/ 1652873 h 3305746"/>
              <a:gd name="connsiteX2" fmla="*/ 1652873 w 3305746"/>
              <a:gd name="connsiteY2" fmla="*/ 3305746 h 3305746"/>
              <a:gd name="connsiteX3" fmla="*/ 1319761 w 3305746"/>
              <a:gd name="connsiteY3" fmla="*/ 3272166 h 3305746"/>
              <a:gd name="connsiteX4" fmla="*/ 1207343 w 3305746"/>
              <a:gd name="connsiteY4" fmla="*/ 3243260 h 3305746"/>
              <a:gd name="connsiteX5" fmla="*/ 1225332 w 3305746"/>
              <a:gd name="connsiteY5" fmla="*/ 3213650 h 3305746"/>
              <a:gd name="connsiteX6" fmla="*/ 1347784 w 3305746"/>
              <a:gd name="connsiteY6" fmla="*/ 2730048 h 3305746"/>
              <a:gd name="connsiteX7" fmla="*/ 333220 w 3305746"/>
              <a:gd name="connsiteY7" fmla="*/ 1715484 h 3305746"/>
              <a:gd name="connsiteX8" fmla="*/ 31520 w 3305746"/>
              <a:gd name="connsiteY8" fmla="*/ 1761097 h 3305746"/>
              <a:gd name="connsiteX9" fmla="*/ 5938 w 3305746"/>
              <a:gd name="connsiteY9" fmla="*/ 1770460 h 3305746"/>
              <a:gd name="connsiteX10" fmla="*/ 0 w 3305746"/>
              <a:gd name="connsiteY10" fmla="*/ 1652873 h 3305746"/>
              <a:gd name="connsiteX11" fmla="*/ 1652873 w 3305746"/>
              <a:gd name="connsiteY11" fmla="*/ 0 h 3305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305746" h="3305746">
                <a:moveTo>
                  <a:pt x="1652873" y="0"/>
                </a:moveTo>
                <a:cubicBezTo>
                  <a:pt x="2565730" y="0"/>
                  <a:pt x="3305746" y="740016"/>
                  <a:pt x="3305746" y="1652873"/>
                </a:cubicBezTo>
                <a:cubicBezTo>
                  <a:pt x="3305746" y="2565730"/>
                  <a:pt x="2565730" y="3305746"/>
                  <a:pt x="1652873" y="3305746"/>
                </a:cubicBezTo>
                <a:cubicBezTo>
                  <a:pt x="1538766" y="3305746"/>
                  <a:pt x="1427360" y="3294183"/>
                  <a:pt x="1319761" y="3272166"/>
                </a:cubicBezTo>
                <a:lnTo>
                  <a:pt x="1207343" y="3243260"/>
                </a:lnTo>
                <a:lnTo>
                  <a:pt x="1225332" y="3213650"/>
                </a:lnTo>
                <a:cubicBezTo>
                  <a:pt x="1303425" y="3069893"/>
                  <a:pt x="1347784" y="2905151"/>
                  <a:pt x="1347784" y="2730048"/>
                </a:cubicBezTo>
                <a:cubicBezTo>
                  <a:pt x="1347784" y="2169720"/>
                  <a:pt x="893548" y="1715484"/>
                  <a:pt x="333220" y="1715484"/>
                </a:cubicBezTo>
                <a:cubicBezTo>
                  <a:pt x="228159" y="1715484"/>
                  <a:pt x="126827" y="1731453"/>
                  <a:pt x="31520" y="1761097"/>
                </a:cubicBezTo>
                <a:lnTo>
                  <a:pt x="5938" y="1770460"/>
                </a:lnTo>
                <a:lnTo>
                  <a:pt x="0" y="1652873"/>
                </a:lnTo>
                <a:cubicBezTo>
                  <a:pt x="0" y="740016"/>
                  <a:pt x="740016" y="0"/>
                  <a:pt x="1652873" y="0"/>
                </a:cubicBezTo>
                <a:close/>
              </a:path>
            </a:pathLst>
          </a:custGeom>
          <a:solidFill>
            <a:srgbClr val="C97A00"/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here </a:t>
            </a:r>
            <a:br>
              <a:rPr lang="en-US" dirty="0"/>
            </a:br>
            <a:r>
              <a:rPr lang="en-US" dirty="0"/>
              <a:t>to insert</a:t>
            </a:r>
          </a:p>
          <a:p>
            <a:r>
              <a:rPr lang="en-US" dirty="0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29414999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70AA778-541B-E885-5A78-44A4C7F4B690}"/>
              </a:ext>
            </a:extLst>
          </p:cNvPr>
          <p:cNvSpPr/>
          <p:nvPr userDrawn="1"/>
        </p:nvSpPr>
        <p:spPr>
          <a:xfrm>
            <a:off x="0" y="4142874"/>
            <a:ext cx="12192000" cy="2466974"/>
          </a:xfrm>
          <a:prstGeom prst="rect">
            <a:avLst/>
          </a:prstGeom>
          <a:solidFill>
            <a:schemeClr val="bg2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060273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1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CDD01BF2-A391-2350-F502-B39704CC06F8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706440" y="2241802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Divider Slide</a:t>
            </a:r>
            <a:endParaRPr lang="en-ZA" noProof="0" dirty="0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53E77A3B-B320-4C09-0FDF-7F1B0E81B64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142876"/>
            <a:ext cx="121920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EA9F132-5B21-E13F-3DD4-5A76269137FE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1425663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div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70AA778-541B-E885-5A78-44A4C7F4B690}"/>
              </a:ext>
            </a:extLst>
          </p:cNvPr>
          <p:cNvSpPr/>
          <p:nvPr userDrawn="1"/>
        </p:nvSpPr>
        <p:spPr>
          <a:xfrm>
            <a:off x="0" y="4142874"/>
            <a:ext cx="12192000" cy="2466974"/>
          </a:xfrm>
          <a:prstGeom prst="rect">
            <a:avLst/>
          </a:prstGeom>
          <a:solidFill>
            <a:schemeClr val="bg2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447FC08-0CA1-C812-957B-303369CEC0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142876"/>
            <a:ext cx="41148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060273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1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CDD01BF2-A391-2350-F502-B39704CC06F8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706440" y="2241802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Divider Slide</a:t>
            </a:r>
            <a:endParaRPr lang="en-ZA" noProof="0" dirty="0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DBBB6FBC-E3C9-3B31-3EF0-38D626E1E1D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114800" y="4142876"/>
            <a:ext cx="41148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5AF0A9FC-BFA5-B482-1275-4088CD88289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229600" y="4142876"/>
            <a:ext cx="39624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37B8CCE-72D0-1BBF-D066-4AF8ED0D6F84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3752871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 Chapt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F7C3906-7D26-F847-D210-DC8F472D401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47291" y="1463747"/>
            <a:ext cx="3937000" cy="3568700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87BD48D-91A6-B706-71D6-9D1F3017065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333037" y="1598327"/>
            <a:ext cx="3294851" cy="3294850"/>
          </a:xfrm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  <a:solidFill>
            <a:srgbClr val="C97A00"/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947886-6017-45AB-58FC-1E7A42079A3B}"/>
              </a:ext>
            </a:extLst>
          </p:cNvPr>
          <p:cNvPicPr>
            <a:picLocks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165" y="3285600"/>
            <a:ext cx="2264400" cy="2048400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66486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5392740" y="2867099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Divider Slide</a:t>
            </a:r>
            <a:endParaRPr lang="en-ZA" noProof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9736D61-2B9F-B39D-FA43-E377D86AA7B3}"/>
              </a:ext>
            </a:extLst>
          </p:cNvPr>
          <p:cNvSpPr/>
          <p:nvPr userDrawn="1"/>
        </p:nvSpPr>
        <p:spPr>
          <a:xfrm>
            <a:off x="0" y="6593974"/>
            <a:ext cx="12192000" cy="26402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Picture Placeholder 101">
            <a:extLst>
              <a:ext uri="{FF2B5EF4-FFF2-40B4-BE49-F238E27FC236}">
                <a16:creationId xmlns:a16="http://schemas.microsoft.com/office/drawing/2014/main" id="{F5F2CF35-ACC4-A108-DD87-92F9426534E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7623" y="3364197"/>
            <a:ext cx="1895476" cy="1895476"/>
          </a:xfrm>
          <a:prstGeom prst="ellipse">
            <a:avLst/>
          </a:prstGeom>
          <a:solidFill>
            <a:srgbClr val="C97A00"/>
          </a:solidFill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visual</a:t>
            </a:r>
          </a:p>
        </p:txBody>
      </p:sp>
    </p:spTree>
    <p:extLst>
      <p:ext uri="{BB962C8B-B14F-4D97-AF65-F5344CB8AC3E}">
        <p14:creationId xmlns:p14="http://schemas.microsoft.com/office/powerpoint/2010/main" val="40824138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56507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206292CE-35FA-6E16-4E5E-A68EE9A5D6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2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DDBAB9D-F630-EF72-1E01-F6D8D4E5B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4" y="6356352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0569442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56507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206292CE-35FA-6E16-4E5E-A68EE9A5D6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2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DDBAB9D-F630-EF72-1E01-F6D8D4E5B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4" y="6356352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38ED6B3-A54B-E3D6-3B0D-0CE82331EF51}"/>
              </a:ext>
            </a:extLst>
          </p:cNvPr>
          <p:cNvSpPr/>
          <p:nvPr userDrawn="1"/>
        </p:nvSpPr>
        <p:spPr>
          <a:xfrm>
            <a:off x="0" y="6176965"/>
            <a:ext cx="12192000" cy="4571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9203930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219235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33A6B3C0-BE11-BB1E-37B2-3F2CECBAC1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2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AA2B460-5729-C216-9BDA-BB746E74BC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4" y="6356352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6419362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56507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206292CE-35FA-6E16-4E5E-A68EE9A5D6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2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DDBAB9D-F630-EF72-1E01-F6D8D4E5B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4" y="6356352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38ED6B3-A54B-E3D6-3B0D-0CE82331EF51}"/>
              </a:ext>
            </a:extLst>
          </p:cNvPr>
          <p:cNvSpPr/>
          <p:nvPr userDrawn="1"/>
        </p:nvSpPr>
        <p:spPr>
          <a:xfrm>
            <a:off x="0" y="6176965"/>
            <a:ext cx="12192000" cy="4571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3499354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image" Target="../media/image3.png"/><Relationship Id="rId5" Type="http://schemas.openxmlformats.org/officeDocument/2006/relationships/theme" Target="../theme/theme1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slideLayout" Target="../slideLayouts/slideLayout7.xml"/><Relationship Id="rId7" Type="http://schemas.openxmlformats.org/officeDocument/2006/relationships/tags" Target="../tags/tag13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12.xml"/><Relationship Id="rId5" Type="http://schemas.openxmlformats.org/officeDocument/2006/relationships/theme" Target="../theme/theme2.xml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24129710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7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1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" name="Picture 3" descr="A black and tan rectangle&#10;&#10;Description automatically generated">
            <a:extLst>
              <a:ext uri="{FF2B5EF4-FFF2-40B4-BE49-F238E27FC236}">
                <a16:creationId xmlns:a16="http://schemas.microsoft.com/office/drawing/2014/main" id="{EADB113B-187A-B76D-8CFF-A149BC294D29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78582" y="330054"/>
            <a:ext cx="196993" cy="60059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EEB0AE3C-4ADA-D397-3678-57EEAB8B28BE}"/>
              </a:ext>
            </a:extLst>
          </p:cNvPr>
          <p:cNvGrpSpPr/>
          <p:nvPr userDrawn="1"/>
        </p:nvGrpSpPr>
        <p:grpSpPr>
          <a:xfrm>
            <a:off x="8976077" y="233111"/>
            <a:ext cx="2906226" cy="1106941"/>
            <a:chOff x="8976077" y="233111"/>
            <a:chExt cx="2906226" cy="1106941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5A5A41D7-7F01-98BE-B536-2EAA1C849DD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147071" y="233111"/>
              <a:ext cx="2735232" cy="1106941"/>
            </a:xfrm>
            <a:prstGeom prst="rect">
              <a:avLst/>
            </a:prstGeom>
          </p:spPr>
        </p:pic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2956881-6CDB-B578-57BA-3F14FAD46549}"/>
                </a:ext>
              </a:extLst>
            </p:cNvPr>
            <p:cNvSpPr/>
            <p:nvPr userDrawn="1"/>
          </p:nvSpPr>
          <p:spPr>
            <a:xfrm>
              <a:off x="8976077" y="327378"/>
              <a:ext cx="215991" cy="606778"/>
            </a:xfrm>
            <a:custGeom>
              <a:avLst/>
              <a:gdLst>
                <a:gd name="connsiteX0" fmla="*/ 0 w 215990"/>
                <a:gd name="connsiteY0" fmla="*/ 0 h 606778"/>
                <a:gd name="connsiteX1" fmla="*/ 211681 w 215990"/>
                <a:gd name="connsiteY1" fmla="*/ 0 h 606778"/>
                <a:gd name="connsiteX2" fmla="*/ 188843 w 215990"/>
                <a:gd name="connsiteY2" fmla="*/ 27680 h 606778"/>
                <a:gd name="connsiteX3" fmla="*/ 105423 w 215990"/>
                <a:gd name="connsiteY3" fmla="*/ 300778 h 606778"/>
                <a:gd name="connsiteX4" fmla="*/ 188843 w 215990"/>
                <a:gd name="connsiteY4" fmla="*/ 573876 h 606778"/>
                <a:gd name="connsiteX5" fmla="*/ 215990 w 215990"/>
                <a:gd name="connsiteY5" fmla="*/ 606778 h 606778"/>
                <a:gd name="connsiteX6" fmla="*/ 0 w 215990"/>
                <a:gd name="connsiteY6" fmla="*/ 606778 h 606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5990" h="606778">
                  <a:moveTo>
                    <a:pt x="0" y="0"/>
                  </a:moveTo>
                  <a:lnTo>
                    <a:pt x="211681" y="0"/>
                  </a:lnTo>
                  <a:lnTo>
                    <a:pt x="188843" y="27680"/>
                  </a:lnTo>
                  <a:cubicBezTo>
                    <a:pt x="136176" y="105638"/>
                    <a:pt x="105423" y="199617"/>
                    <a:pt x="105423" y="300778"/>
                  </a:cubicBezTo>
                  <a:cubicBezTo>
                    <a:pt x="105423" y="401940"/>
                    <a:pt x="136176" y="495918"/>
                    <a:pt x="188843" y="573876"/>
                  </a:cubicBezTo>
                  <a:lnTo>
                    <a:pt x="215990" y="606778"/>
                  </a:lnTo>
                  <a:lnTo>
                    <a:pt x="0" y="606778"/>
                  </a:lnTo>
                  <a:close/>
                </a:path>
              </a:pathLst>
            </a:custGeom>
            <a:solidFill>
              <a:srgbClr val="C97A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2030761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0" r:id="rId2"/>
    <p:sldLayoutId id="2147483657" r:id="rId3"/>
    <p:sldLayoutId id="2147483655" r:id="rId4"/>
  </p:sldLayoutIdLs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1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Clr>
          <a:schemeClr val="bg1">
            <a:lumMod val="50000"/>
          </a:schemeClr>
        </a:buClr>
        <a:buFont typeface="Wingdings" panose="05000000000000000000" pitchFamily="2" charset="2"/>
        <a:buChar char="§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Calibri" panose="020F0502020204030204" pitchFamily="34" charset="0"/>
        <a:buChar char="-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Courier New" panose="02070309020205020404" pitchFamily="49" charset="0"/>
        <a:buChar char="o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Wingdings" panose="05000000000000000000" pitchFamily="2" charset="2"/>
        <a:buChar char="Ø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A7057F0-5F5E-786F-613E-0CBEA464107A}"/>
              </a:ext>
            </a:extLst>
          </p:cNvPr>
          <p:cNvSpPr/>
          <p:nvPr userDrawn="1"/>
        </p:nvSpPr>
        <p:spPr>
          <a:xfrm>
            <a:off x="0" y="0"/>
            <a:ext cx="12192000" cy="990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272767211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7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1681" y="1223493"/>
            <a:ext cx="11383851" cy="48590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ZA" dirty="0"/>
              <a:t>Edit Master text styles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1680" y="6356352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97804" y="6356352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1682" y="205769"/>
            <a:ext cx="9511777" cy="66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noProof="0" dirty="0"/>
              <a:t>Click to edit Master title style</a:t>
            </a:r>
            <a:endParaRPr lang="en-ZA" noProof="0" dirty="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198892C-3B58-8843-4E69-B1E42E9824CB}"/>
              </a:ext>
            </a:extLst>
          </p:cNvPr>
          <p:cNvGrpSpPr/>
          <p:nvPr userDrawn="1"/>
        </p:nvGrpSpPr>
        <p:grpSpPr>
          <a:xfrm>
            <a:off x="9733443" y="171358"/>
            <a:ext cx="2148924" cy="651617"/>
            <a:chOff x="7522435" y="1661173"/>
            <a:chExt cx="2715828" cy="823519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A8F0EFDE-1C73-CEE7-B895-29C3ED656925}"/>
                </a:ext>
              </a:extLst>
            </p:cNvPr>
            <p:cNvSpPr/>
            <p:nvPr userDrawn="1"/>
          </p:nvSpPr>
          <p:spPr>
            <a:xfrm>
              <a:off x="7522435" y="1661173"/>
              <a:ext cx="215990" cy="606778"/>
            </a:xfrm>
            <a:custGeom>
              <a:avLst/>
              <a:gdLst>
                <a:gd name="connsiteX0" fmla="*/ 0 w 215990"/>
                <a:gd name="connsiteY0" fmla="*/ 0 h 606778"/>
                <a:gd name="connsiteX1" fmla="*/ 211681 w 215990"/>
                <a:gd name="connsiteY1" fmla="*/ 0 h 606778"/>
                <a:gd name="connsiteX2" fmla="*/ 188843 w 215990"/>
                <a:gd name="connsiteY2" fmla="*/ 27680 h 606778"/>
                <a:gd name="connsiteX3" fmla="*/ 105423 w 215990"/>
                <a:gd name="connsiteY3" fmla="*/ 300778 h 606778"/>
                <a:gd name="connsiteX4" fmla="*/ 188843 w 215990"/>
                <a:gd name="connsiteY4" fmla="*/ 573876 h 606778"/>
                <a:gd name="connsiteX5" fmla="*/ 215990 w 215990"/>
                <a:gd name="connsiteY5" fmla="*/ 606778 h 606778"/>
                <a:gd name="connsiteX6" fmla="*/ 0 w 215990"/>
                <a:gd name="connsiteY6" fmla="*/ 606778 h 606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5990" h="606778">
                  <a:moveTo>
                    <a:pt x="0" y="0"/>
                  </a:moveTo>
                  <a:lnTo>
                    <a:pt x="211681" y="0"/>
                  </a:lnTo>
                  <a:lnTo>
                    <a:pt x="188843" y="27680"/>
                  </a:lnTo>
                  <a:cubicBezTo>
                    <a:pt x="136176" y="105638"/>
                    <a:pt x="105423" y="199617"/>
                    <a:pt x="105423" y="300778"/>
                  </a:cubicBezTo>
                  <a:cubicBezTo>
                    <a:pt x="105423" y="401940"/>
                    <a:pt x="136176" y="495918"/>
                    <a:pt x="188843" y="573876"/>
                  </a:cubicBezTo>
                  <a:lnTo>
                    <a:pt x="215990" y="606778"/>
                  </a:lnTo>
                  <a:lnTo>
                    <a:pt x="0" y="606778"/>
                  </a:lnTo>
                  <a:close/>
                </a:path>
              </a:pathLst>
            </a:custGeom>
            <a:solidFill>
              <a:srgbClr val="C97A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5" name="Picture 24" descr="A black and white logo&#10;&#10;Description automatically generated">
              <a:extLst>
                <a:ext uri="{FF2B5EF4-FFF2-40B4-BE49-F238E27FC236}">
                  <a16:creationId xmlns:a16="http://schemas.microsoft.com/office/drawing/2014/main" id="{23B9E0D4-C21E-F6B7-D922-AE9183361D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83826" y="1756056"/>
              <a:ext cx="2354437" cy="7286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64861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8" r:id="rId2"/>
    <p:sldLayoutId id="2147483654" r:id="rId3"/>
    <p:sldLayoutId id="2147483659" r:id="rId4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1D3E88"/>
        </a:buClr>
        <a:buFont typeface="Calibri" panose="020F0502020204030204" pitchFamily="34" charset="0"/>
        <a:buChar char="-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Ø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783981-0676-B4BE-E2C1-016DCD399B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18049" y="1404737"/>
            <a:ext cx="7117691" cy="67627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Digital Transducers Enquiry</a:t>
            </a:r>
          </a:p>
        </p:txBody>
      </p:sp>
      <p:pic>
        <p:nvPicPr>
          <p:cNvPr id="10" name="Picture Placeholder 9" descr="A group of men in a power line&#10;&#10;Description automatically generated">
            <a:extLst>
              <a:ext uri="{FF2B5EF4-FFF2-40B4-BE49-F238E27FC236}">
                <a16:creationId xmlns:a16="http://schemas.microsoft.com/office/drawing/2014/main" id="{30C60764-4E12-D366-6DA6-65A743875E7E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65125" y="3995739"/>
            <a:ext cx="1895475" cy="1895475"/>
          </a:xfrm>
          <a:prstGeom prst="ellipse">
            <a:avLst/>
          </a:prstGeom>
          <a:solidFill>
            <a:srgbClr val="C97A00"/>
          </a:solidFill>
          <a:ln>
            <a:noFill/>
          </a:ln>
        </p:spPr>
      </p:pic>
      <p:pic>
        <p:nvPicPr>
          <p:cNvPr id="8" name="Picture Placeholder 7" descr="A power line in the snow&#10;&#10;Description automatically generated">
            <a:extLst>
              <a:ext uri="{FF2B5EF4-FFF2-40B4-BE49-F238E27FC236}">
                <a16:creationId xmlns:a16="http://schemas.microsoft.com/office/drawing/2014/main" id="{D0E6E68C-7F00-52C7-4589-0B20AA8A42B0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90602" y="2206626"/>
            <a:ext cx="3294063" cy="3294063"/>
          </a:xfrm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57AAABF2-7F51-A87F-86DF-FB4FEACBA0AC}"/>
              </a:ext>
            </a:extLst>
          </p:cNvPr>
          <p:cNvSpPr txBox="1">
            <a:spLocks/>
          </p:cNvSpPr>
          <p:nvPr/>
        </p:nvSpPr>
        <p:spPr>
          <a:xfrm>
            <a:off x="5982790" y="2847705"/>
            <a:ext cx="5752951" cy="441649"/>
          </a:xfrm>
          <a:prstGeom prst="rect">
            <a:avLst/>
          </a:prstGeom>
        </p:spPr>
        <p:txBody>
          <a:bodyPr/>
          <a:lstStyle>
            <a:lvl1pPr marL="0" indent="0" algn="r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None/>
              <a:defRPr sz="2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>
                <a:solidFill>
                  <a:schemeClr val="tx2"/>
                </a:solidFill>
              </a:rPr>
              <a:t>Presented By: Samuel Letwaba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A176F94-392A-C106-7233-A6877F656B52}"/>
              </a:ext>
            </a:extLst>
          </p:cNvPr>
          <p:cNvSpPr txBox="1">
            <a:spLocks/>
          </p:cNvSpPr>
          <p:nvPr/>
        </p:nvSpPr>
        <p:spPr>
          <a:xfrm>
            <a:off x="7354957" y="3527027"/>
            <a:ext cx="4380783" cy="327025"/>
          </a:xfrm>
          <a:prstGeom prst="rect">
            <a:avLst/>
          </a:prstGeom>
        </p:spPr>
        <p:txBody>
          <a:bodyPr/>
          <a:lstStyle>
            <a:lvl1pPr marL="0" indent="0" algn="r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None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Date: 06 June 2025</a:t>
            </a:r>
          </a:p>
        </p:txBody>
      </p:sp>
    </p:spTree>
    <p:extLst>
      <p:ext uri="{BB962C8B-B14F-4D97-AF65-F5344CB8AC3E}">
        <p14:creationId xmlns:p14="http://schemas.microsoft.com/office/powerpoint/2010/main" val="28690205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AA0129-44C4-DC26-B93D-8D2468716E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DAF8E8-E096-37FC-A099-60620642F09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ct val="30000"/>
              </a:spcBef>
              <a:spcAft>
                <a:spcPct val="0"/>
              </a:spcAft>
              <a:defRPr/>
            </a:pPr>
            <a:r>
              <a:rPr lang="en-ZA" sz="1600" kern="0" dirty="0"/>
              <a:t>This stage will be adjudicated a score out of 100% based on the evaluation of the Tenderer’s responses provided in the “Technical A&amp;B Schedules” and “Support Schedule” for each item.</a:t>
            </a:r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r>
              <a:rPr lang="en-ZA" sz="1600" kern="0" dirty="0"/>
              <a:t>Include all relevant supporting documents,</a:t>
            </a:r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r>
              <a:rPr lang="en-ZA" sz="1600" kern="0" dirty="0"/>
              <a:t> and make the references as precise as possible to provide the evaluation team with the necessary proof.</a:t>
            </a:r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endParaRPr lang="en-ZA" sz="1600" kern="0" dirty="0"/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endParaRPr lang="en-ZA" sz="1600" kern="0" dirty="0"/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endParaRPr lang="en-ZA" sz="1600" kern="0" dirty="0"/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endParaRPr lang="en-ZA" sz="1600" kern="0" dirty="0"/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endParaRPr lang="en-ZA" sz="1600" kern="0" dirty="0"/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endParaRPr lang="en-ZA" sz="1600" kern="0" dirty="0"/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endParaRPr lang="en-ZA" sz="1600" kern="0" dirty="0"/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endParaRPr lang="en-ZA" sz="1600" kern="0" dirty="0"/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endParaRPr lang="en-ZA" sz="1600" kern="0" dirty="0"/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r>
              <a:rPr lang="en-ZA" sz="1600" kern="0" dirty="0"/>
              <a:t>Tenderers who do not meet the minimum threshold will not be evaluated further.</a:t>
            </a:r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endParaRPr lang="en-ZA" kern="0" dirty="0"/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endParaRPr lang="en-ZA" kern="0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DF57E853-51FD-1A7D-3575-E9D707957D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ED5D8755-E9B5-421D-5F16-F06EA8BA69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10</a:t>
            </a:fld>
            <a:endParaRPr lang="en-Z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107A36-227A-29F4-967D-95AD52F96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ical Qualitative Requirements Evaluation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8AC3D3F-5A79-28B0-A64D-C1F04F53EA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85648" y="2571675"/>
            <a:ext cx="4663844" cy="1714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45433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6FD9A6-C470-31B2-97D1-F30DE14900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8FF54B-4B1B-1481-C8D2-9D61AD68C9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ct val="30000"/>
              </a:spcBef>
              <a:spcAft>
                <a:spcPct val="0"/>
              </a:spcAft>
              <a:defRPr/>
            </a:pPr>
            <a:r>
              <a:rPr lang="en-ZA" sz="1600" kern="0" dirty="0"/>
              <a:t>Tenderers that have qualified for this stage of the evaluation will be notified of their respective dates for the laboratory evaluation that will be conducted in the NTCSA / Eskom premises in Gauteng.</a:t>
            </a:r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r>
              <a:rPr lang="en-ZA" sz="1600" kern="0" dirty="0"/>
              <a:t>Suppliers are required to provide a sample of all the variants of transducers and display items offered, to be subjected to configuration and testing, on the day of the laboratory demonstration.</a:t>
            </a:r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r>
              <a:rPr lang="en-ZA" sz="1600" kern="0" dirty="0"/>
              <a:t>The sample for shall have a minimum of 1 x transducer (6 analogue outputs) and 1 x display but the wiring in the rack shall be for complete rack i.e. 2 x transducers and 2 x display.</a:t>
            </a:r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r>
              <a:rPr lang="en-ZA" sz="1600" kern="0" dirty="0"/>
              <a:t>Prototype transducers, displays and their respective software shall be functionally evaluated and tested against the requirements of the respective specifications and allocated a score based on the various use cases listed in the technical evaluation criteria document.</a:t>
            </a:r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r>
              <a:rPr lang="en-ZA" sz="1600" kern="0" dirty="0"/>
              <a:t>This stage shall be adjudicated a score out of 100% with a minimum threshold for qualification of 85% required to proceed to next stage of the technical evaluation.</a:t>
            </a:r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r>
              <a:rPr lang="en-ZA" sz="1600" kern="0" dirty="0"/>
              <a:t>Tenderers who do not meet the minimum threshold of 85% will not be evaluated further</a:t>
            </a:r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endParaRPr lang="en-ZA" kern="0" dirty="0"/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endParaRPr lang="en-ZA" kern="0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BCF569B8-6AE4-5778-BD39-C8693C1129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5474F4B-4050-CD82-C222-0BC2D8D0AC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11</a:t>
            </a:fld>
            <a:endParaRPr lang="en-Z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69AF94-80C2-3B94-88AF-747F02A2D8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oratory Demonstration</a:t>
            </a:r>
          </a:p>
        </p:txBody>
      </p:sp>
    </p:spTree>
    <p:extLst>
      <p:ext uri="{BB962C8B-B14F-4D97-AF65-F5344CB8AC3E}">
        <p14:creationId xmlns:p14="http://schemas.microsoft.com/office/powerpoint/2010/main" val="28880582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598B3C-04DA-6A62-8A67-B8D038A2C3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0C9FEE-9754-1807-D056-D0CFD1FB10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Bef>
                <a:spcPct val="30000"/>
              </a:spcBef>
              <a:spcAft>
                <a:spcPct val="0"/>
              </a:spcAft>
              <a:defRPr/>
            </a:pPr>
            <a:r>
              <a:rPr lang="en-ZA" sz="1600" kern="0" dirty="0"/>
              <a:t>The technical evaluation team shall conduct integration testing to the NTCSA SCADA systems (RTUs and Bay processors) over the protocols supported by the transducers.</a:t>
            </a:r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r>
              <a:rPr lang="en-ZA" sz="1600" kern="0" dirty="0"/>
              <a:t>The prototype transducers submitted for the laboratory demonstration will be used for the SCADA integration testing will include the following verification tests:</a:t>
            </a:r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endParaRPr lang="en-ZA" sz="1600" kern="0" dirty="0"/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endParaRPr lang="en-ZA" sz="1600" kern="0" dirty="0"/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endParaRPr lang="en-ZA" sz="1600" kern="0" dirty="0"/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endParaRPr lang="en-ZA" sz="1600" kern="0" dirty="0"/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endParaRPr lang="en-ZA" sz="1600" kern="0" dirty="0"/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endParaRPr lang="en-ZA" sz="1600" kern="0" dirty="0"/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endParaRPr lang="en-ZA" sz="1600" kern="0" dirty="0"/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endParaRPr lang="en-ZA" sz="1600" kern="0" dirty="0"/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r>
              <a:rPr lang="en-ZA" sz="1600" kern="0" dirty="0"/>
              <a:t>Each item will be assigned a score by the technical evaluation team member based on the verification of the SCADA integration functionality and protocol tested against the requirements.</a:t>
            </a:r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r>
              <a:rPr lang="en-ZA" sz="1600" kern="0" dirty="0"/>
              <a:t>Only submissions that pass the SCADA integration testing scoring threshold of 95% will proceed to the next stage of the evaluation.</a:t>
            </a:r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r>
              <a:rPr lang="en-ZA" sz="1600" kern="0" dirty="0"/>
              <a:t>Tenderers who do not meet the threshold of 95% will not be evaluated further</a:t>
            </a:r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endParaRPr lang="en-ZA" kern="0" dirty="0"/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endParaRPr lang="en-ZA" kern="0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8BD4F2A8-C377-4330-BAEE-3234E634A9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D26A703-5F40-0F96-875A-645E4D5C0F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12</a:t>
            </a:fld>
            <a:endParaRPr lang="en-Z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BFC397-EAE2-1CDB-AF5F-CAED29924E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ADA Integration and Testing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BD3F066-499F-9606-8E5A-6E20F735C7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3778" y="2318084"/>
            <a:ext cx="8407286" cy="2149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16120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0A1AF3-327D-D16A-5D3F-16E5488964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spcBef>
                <a:spcPct val="30000"/>
              </a:spcBef>
              <a:spcAft>
                <a:spcPct val="0"/>
              </a:spcAft>
              <a:buNone/>
              <a:defRPr/>
            </a:pPr>
            <a:r>
              <a:rPr lang="en-ZA" sz="1600" kern="0" dirty="0"/>
              <a:t>The technical evaluation team shall compile a narrative summarising risks associated with any aspect of the offer:</a:t>
            </a:r>
          </a:p>
          <a:p>
            <a:pPr marL="0" inden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None/>
              <a:defRPr/>
            </a:pPr>
            <a:r>
              <a:rPr lang="en-ZA" sz="1600" kern="0" dirty="0"/>
              <a:t>a) noted during the Technical Qualitative Requirements Evaluation,</a:t>
            </a:r>
          </a:p>
          <a:p>
            <a:pPr marL="0" inden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None/>
              <a:defRPr/>
            </a:pPr>
            <a:r>
              <a:rPr lang="en-ZA" sz="1600" kern="0" dirty="0"/>
              <a:t>b) noted during the Transducer and Software Evaluation during Laboratory Demonstrations,</a:t>
            </a:r>
          </a:p>
          <a:p>
            <a:pPr marL="0" inden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None/>
              <a:defRPr/>
            </a:pPr>
            <a:r>
              <a:rPr lang="en-ZA" sz="1600" kern="0" dirty="0"/>
              <a:t>c) noted during the SCADA integration and protocol testing,</a:t>
            </a:r>
          </a:p>
          <a:p>
            <a:pPr marL="0" inden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None/>
              <a:defRPr/>
            </a:pPr>
            <a:r>
              <a:rPr lang="en-ZA" sz="1600" kern="0" dirty="0"/>
              <a:t>d) based on the tenderers response to Quality, Risk and Support Questionnaire,</a:t>
            </a:r>
          </a:p>
          <a:p>
            <a:pPr marL="0" inden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None/>
              <a:defRPr/>
            </a:pPr>
            <a:r>
              <a:rPr lang="en-ZA" sz="1600" kern="0" dirty="0"/>
              <a:t>e) based on the deviations provided in the Deviation schedule Excel sheet to referenced technical standards, and</a:t>
            </a:r>
          </a:p>
          <a:p>
            <a:pPr marL="0" inden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None/>
              <a:defRPr/>
            </a:pPr>
            <a:r>
              <a:rPr lang="en-ZA" sz="1600" kern="0" dirty="0"/>
              <a:t>f) based on any pricing anomalies, noted during the subsequent financial evaluation that cannot be acceptably clarified.</a:t>
            </a:r>
          </a:p>
          <a:p>
            <a:pPr marL="0" indent="0">
              <a:spcBef>
                <a:spcPct val="30000"/>
              </a:spcBef>
              <a:spcAft>
                <a:spcPct val="0"/>
              </a:spcAft>
              <a:buNone/>
              <a:defRPr/>
            </a:pPr>
            <a:endParaRPr lang="en-ZA" sz="1600" kern="0" dirty="0"/>
          </a:p>
          <a:p>
            <a:pPr marL="0" indent="0">
              <a:spcBef>
                <a:spcPct val="30000"/>
              </a:spcBef>
              <a:spcAft>
                <a:spcPct val="0"/>
              </a:spcAft>
              <a:buNone/>
              <a:defRPr/>
            </a:pPr>
            <a:r>
              <a:rPr lang="en-ZA" sz="1600" kern="0" dirty="0"/>
              <a:t>This narrative shall be used to determine and motivate whether the risk is deemed low / acceptable / high and will serve as input to the recommendation as to whether the offer should be accepted.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95F1F094-5331-2964-1B3F-709AA92962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066D841-776C-9498-60ED-205E0B4437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13</a:t>
            </a:fld>
            <a:endParaRPr lang="en-Z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FFCD6B-9FE8-D7A0-A749-2C4EED65C4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Deemed Offer Risk(s) Evaluation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447644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8F5BA1A-3800-7439-CF89-B62DDE9B0B4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Questions</a:t>
            </a:r>
            <a:endParaRPr lang="en-US" b="1" dirty="0"/>
          </a:p>
        </p:txBody>
      </p:sp>
      <p:pic>
        <p:nvPicPr>
          <p:cNvPr id="15" name="Picture Placeholder 14">
            <a:extLst>
              <a:ext uri="{FF2B5EF4-FFF2-40B4-BE49-F238E27FC236}">
                <a16:creationId xmlns:a16="http://schemas.microsoft.com/office/drawing/2014/main" id="{E7B1F08B-9E08-69D9-51EE-2747A10AC5FC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14800" y="4142876"/>
            <a:ext cx="4114800" cy="2451601"/>
          </a:xfrm>
        </p:spPr>
      </p:pic>
      <p:pic>
        <p:nvPicPr>
          <p:cNvPr id="17" name="Picture Placeholder 16">
            <a:extLst>
              <a:ext uri="{FF2B5EF4-FFF2-40B4-BE49-F238E27FC236}">
                <a16:creationId xmlns:a16="http://schemas.microsoft.com/office/drawing/2014/main" id="{F631ABC5-3DF0-8826-ED50-29853694D306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29600" y="4142876"/>
            <a:ext cx="3962400" cy="2451601"/>
          </a:xfrm>
        </p:spPr>
      </p:pic>
      <p:pic>
        <p:nvPicPr>
          <p:cNvPr id="25" name="Picture Placeholder 24">
            <a:extLst>
              <a:ext uri="{FF2B5EF4-FFF2-40B4-BE49-F238E27FC236}">
                <a16:creationId xmlns:a16="http://schemas.microsoft.com/office/drawing/2014/main" id="{509BC8C2-CBEC-B5C5-184D-DF1F93CF9E2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142876"/>
            <a:ext cx="4114800" cy="2451601"/>
          </a:xfrm>
        </p:spPr>
      </p:pic>
    </p:spTree>
    <p:extLst>
      <p:ext uri="{BB962C8B-B14F-4D97-AF65-F5344CB8AC3E}">
        <p14:creationId xmlns:p14="http://schemas.microsoft.com/office/powerpoint/2010/main" val="15296046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70FAF6-1BE2-9D79-C294-4B876675ADD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5EAD2719-A108-14FA-3D7A-D668FA5A259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E2C57C52-6723-79BE-E47B-9C9B7E2BA215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8189" y="3376613"/>
            <a:ext cx="1895475" cy="1895475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4957485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175107-8CA2-D694-3AC7-A89E813965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6439" y="2241802"/>
            <a:ext cx="7700713" cy="676275"/>
          </a:xfrm>
        </p:spPr>
        <p:txBody>
          <a:bodyPr>
            <a:normAutofit/>
          </a:bodyPr>
          <a:lstStyle/>
          <a:p>
            <a:r>
              <a:rPr lang="en-US" dirty="0"/>
              <a:t>Technical Requirements – Digital Transducer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0EF22CC-D72B-AA92-A74E-244C3605730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126545"/>
            <a:ext cx="6096000" cy="245160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DCFD839-8D6D-041E-851A-26B9BEBD1E0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4126543"/>
            <a:ext cx="6096000" cy="2451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11842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6EB16E-EB8A-E11E-92B4-24253E78DC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ical Specifications – Digital Transduc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50A51C-64F1-E345-9891-68F3C607B6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Bef>
                <a:spcPct val="30000"/>
              </a:spcBef>
              <a:spcAft>
                <a:spcPct val="0"/>
              </a:spcAft>
              <a:defRPr/>
            </a:pPr>
            <a:r>
              <a:rPr lang="en-ZA" altLang="en-US" sz="1600" kern="0" dirty="0"/>
              <a:t>Eskom standard for digital transducer based measurement system (240-51999977)</a:t>
            </a:r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r>
              <a:rPr lang="en-ZA" altLang="en-US" sz="1600" kern="0" dirty="0"/>
              <a:t>The enquiry shall include the following groups of digital transducer based measurement system:</a:t>
            </a:r>
          </a:p>
          <a:p>
            <a:pPr marL="0" indent="0">
              <a:spcBef>
                <a:spcPct val="30000"/>
              </a:spcBef>
              <a:spcAft>
                <a:spcPct val="0"/>
              </a:spcAft>
              <a:buNone/>
              <a:defRPr/>
            </a:pPr>
            <a:endParaRPr lang="en-ZA" altLang="en-US" kern="0" dirty="0"/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endParaRPr lang="en-ZA" altLang="en-US" kern="0" dirty="0"/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endParaRPr lang="en-ZA" altLang="en-US" kern="0" dirty="0"/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endParaRPr lang="en-ZA" altLang="en-US" kern="0" dirty="0"/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endParaRPr lang="en-ZA" altLang="en-US" kern="0" dirty="0"/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endParaRPr lang="en-ZA" altLang="en-US" kern="0" dirty="0"/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endParaRPr lang="en-ZA" altLang="en-US" kern="0" dirty="0"/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endParaRPr lang="en-ZA" altLang="en-US" kern="0" dirty="0"/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endParaRPr lang="en-ZA" altLang="en-US" kern="0" dirty="0"/>
          </a:p>
          <a:p>
            <a:pPr marL="0" indent="0">
              <a:spcBef>
                <a:spcPct val="30000"/>
              </a:spcBef>
              <a:spcAft>
                <a:spcPct val="0"/>
              </a:spcAft>
              <a:buNone/>
              <a:defRPr/>
            </a:pPr>
            <a:endParaRPr lang="en-ZA" altLang="en-US" sz="1600" kern="0" dirty="0"/>
          </a:p>
          <a:p>
            <a:pPr>
              <a:spcBef>
                <a:spcPct val="30000"/>
              </a:spcBef>
              <a:spcAft>
                <a:spcPct val="0"/>
              </a:spcAft>
            </a:pPr>
            <a:endParaRPr lang="en-ZA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7FB17179-D8C4-0257-8864-05F2721034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EAA7AAA-6E3B-D37C-1F87-DF5919800C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3</a:t>
            </a:fld>
            <a:endParaRPr lang="en-ZA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1E7DDB8-D498-7939-2C1C-32BA82B797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680" y="1914106"/>
            <a:ext cx="11237623" cy="3623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60265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6A4633-54F8-51D2-B9A7-AA2E616B29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C3A650-8C1A-F575-38A5-561D967A9B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ical Specifications – Digital Transduc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3AE0187-20EB-F4C2-F4BD-3AF1636E49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Bef>
                <a:spcPct val="30000"/>
              </a:spcBef>
              <a:spcAft>
                <a:spcPct val="0"/>
              </a:spcAft>
              <a:defRPr/>
            </a:pPr>
            <a:r>
              <a:rPr lang="en-ZA" altLang="en-US" sz="1600" kern="0" dirty="0"/>
              <a:t>19” Rack Options (Group 4, item 8, 9 and 10)</a:t>
            </a:r>
          </a:p>
          <a:p>
            <a:pPr marL="0" indent="0">
              <a:spcBef>
                <a:spcPct val="30000"/>
              </a:spcBef>
              <a:spcAft>
                <a:spcPct val="0"/>
              </a:spcAft>
              <a:buNone/>
              <a:defRPr/>
            </a:pPr>
            <a:endParaRPr lang="en-ZA" altLang="en-US" kern="0" dirty="0"/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endParaRPr lang="en-ZA" altLang="en-US" kern="0" dirty="0"/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endParaRPr lang="en-ZA" altLang="en-US" kern="0" dirty="0"/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endParaRPr lang="en-ZA" altLang="en-US" kern="0" dirty="0"/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endParaRPr lang="en-ZA" altLang="en-US" kern="0" dirty="0"/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endParaRPr lang="en-ZA" altLang="en-US" kern="0" dirty="0"/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endParaRPr lang="en-ZA" altLang="en-US" kern="0" dirty="0"/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endParaRPr lang="en-ZA" altLang="en-US" kern="0" dirty="0"/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endParaRPr lang="en-ZA" altLang="en-US" kern="0" dirty="0"/>
          </a:p>
          <a:p>
            <a:pPr marL="0" indent="0">
              <a:spcBef>
                <a:spcPct val="30000"/>
              </a:spcBef>
              <a:spcAft>
                <a:spcPct val="0"/>
              </a:spcAft>
              <a:buNone/>
              <a:defRPr/>
            </a:pPr>
            <a:endParaRPr lang="en-ZA" altLang="en-US" sz="1600" kern="0" dirty="0"/>
          </a:p>
          <a:p>
            <a:pPr>
              <a:spcBef>
                <a:spcPct val="30000"/>
              </a:spcBef>
              <a:spcAft>
                <a:spcPct val="0"/>
              </a:spcAft>
            </a:pPr>
            <a:endParaRPr lang="en-ZA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BDD98CB0-48F2-6EE8-444F-DD9C4E6EFB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B521941-34E9-EE82-F078-28368A6B6C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4</a:t>
            </a:fld>
            <a:endParaRPr lang="en-ZA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21531B2-1CC9-1B76-691E-642FAF37D1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12826" y="1645479"/>
            <a:ext cx="6366347" cy="4636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6464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6EB16E-EB8A-E11E-92B4-24253E78DC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ical Tender Returnab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50A51C-64F1-E345-9891-68F3C607B6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ct val="30000"/>
              </a:spcBef>
              <a:spcAft>
                <a:spcPct val="0"/>
              </a:spcAft>
              <a:defRPr/>
            </a:pPr>
            <a:r>
              <a:rPr lang="en-ZA" altLang="en-US" sz="1600" kern="0" dirty="0"/>
              <a:t>Completed Excel Workbook for each tendered item, containing the following sheets:</a:t>
            </a:r>
          </a:p>
          <a:p>
            <a:pPr lvl="1">
              <a:spcBef>
                <a:spcPct val="3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/>
            </a:pPr>
            <a:r>
              <a:rPr lang="en-ZA" altLang="en-US" sz="1600" kern="0" dirty="0"/>
              <a:t>General Questionnaire</a:t>
            </a:r>
          </a:p>
          <a:p>
            <a:pPr lvl="1">
              <a:spcBef>
                <a:spcPct val="3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/>
            </a:pPr>
            <a:r>
              <a:rPr lang="en-ZA" altLang="en-US" sz="1600" kern="0" dirty="0"/>
              <a:t>Mandatory Requirements</a:t>
            </a:r>
          </a:p>
          <a:p>
            <a:pPr lvl="1">
              <a:spcBef>
                <a:spcPct val="3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/>
            </a:pPr>
            <a:r>
              <a:rPr lang="en-ZA" altLang="en-US" sz="1600" kern="0" dirty="0"/>
              <a:t>Technical A&amp;B Schedule</a:t>
            </a:r>
          </a:p>
          <a:p>
            <a:pPr lvl="1">
              <a:spcBef>
                <a:spcPct val="3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/>
            </a:pPr>
            <a:r>
              <a:rPr lang="en-ZA" sz="1600" dirty="0"/>
              <a:t>Support Schedule</a:t>
            </a:r>
          </a:p>
          <a:p>
            <a:pPr lvl="1">
              <a:spcBef>
                <a:spcPct val="3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/>
            </a:pPr>
            <a:r>
              <a:rPr lang="en-ZA" sz="1600" dirty="0"/>
              <a:t>Deviation Schedule</a:t>
            </a:r>
          </a:p>
          <a:p>
            <a:pPr marL="0" indent="0">
              <a:spcBef>
                <a:spcPct val="30000"/>
              </a:spcBef>
              <a:spcAft>
                <a:spcPct val="0"/>
              </a:spcAft>
              <a:buNone/>
              <a:defRPr/>
            </a:pPr>
            <a:endParaRPr lang="en-ZA" sz="1600" dirty="0"/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r>
              <a:rPr lang="en-ZA" sz="1600" dirty="0"/>
              <a:t>Supplier Equipment Tendered Declaration Form (Annex A, Technical Evaluation Criteria - 240-185000396)</a:t>
            </a:r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r>
              <a:rPr lang="en-ZA" sz="1600" dirty="0"/>
              <a:t>Quality, Risk and Support Questionnaire (Annex B, Technical Evaluation Criteria - 240-185000396)</a:t>
            </a:r>
          </a:p>
          <a:p>
            <a:pPr marL="0" indent="0">
              <a:spcBef>
                <a:spcPct val="30000"/>
              </a:spcBef>
              <a:spcAft>
                <a:spcPct val="0"/>
              </a:spcAft>
              <a:buNone/>
              <a:defRPr/>
            </a:pPr>
            <a:endParaRPr lang="en-ZA" sz="1600" dirty="0"/>
          </a:p>
          <a:p>
            <a:pPr marL="0" indent="0">
              <a:spcBef>
                <a:spcPct val="30000"/>
              </a:spcBef>
              <a:spcAft>
                <a:spcPct val="0"/>
              </a:spcAft>
              <a:buNone/>
              <a:defRPr/>
            </a:pPr>
            <a:r>
              <a:rPr lang="en-ZA" sz="1600" i="1" u="sng" dirty="0">
                <a:solidFill>
                  <a:srgbClr val="FF0000"/>
                </a:solidFill>
              </a:rPr>
              <a:t>Remember to provide relevant supporting documents where applicable</a:t>
            </a:r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r>
              <a:rPr lang="en-ZA" sz="1600" dirty="0"/>
              <a:t>All information must be completed in electronic format in the Excel sheets. Excel sheets should also be completed in PDF for audit purposes.</a:t>
            </a:r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r>
              <a:rPr lang="en-ZA" sz="1600" dirty="0"/>
              <a:t>Do not password protect the Excel sheets.</a:t>
            </a:r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endParaRPr lang="en-ZA" sz="1600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7FB17179-D8C4-0257-8864-05F2721034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EAA7AAA-6E3B-D37C-1F87-DF5919800C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5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163894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175107-8CA2-D694-3AC7-A89E813965D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Technical Evaluation Criteria– Digital Transducers</a:t>
            </a:r>
          </a:p>
        </p:txBody>
      </p:sp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9599CD80-4779-35C8-439C-67820EB71C6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142876"/>
            <a:ext cx="12192000" cy="2451601"/>
          </a:xfrm>
        </p:spPr>
      </p:pic>
    </p:spTree>
    <p:extLst>
      <p:ext uri="{BB962C8B-B14F-4D97-AF65-F5344CB8AC3E}">
        <p14:creationId xmlns:p14="http://schemas.microsoft.com/office/powerpoint/2010/main" val="33315053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0A1AF3-327D-D16A-5D3F-16E5488964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spcBef>
                <a:spcPct val="30000"/>
              </a:spcBef>
              <a:spcAft>
                <a:spcPct val="0"/>
              </a:spcAft>
              <a:buNone/>
              <a:defRPr/>
            </a:pPr>
            <a:r>
              <a:rPr lang="en-ZA" sz="1600" kern="0" dirty="0"/>
              <a:t>The evaluation method consists of three (3) main stages:</a:t>
            </a:r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r>
              <a:rPr lang="en-ZA" sz="1600" kern="0" dirty="0"/>
              <a:t>Mandatory Requirements Evaluation</a:t>
            </a:r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r>
              <a:rPr lang="en-ZA" sz="1600" dirty="0"/>
              <a:t>Supplier Equipment Tendered Declaration</a:t>
            </a:r>
            <a:endParaRPr lang="en-ZA" sz="1600" kern="0" dirty="0"/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r>
              <a:rPr lang="en-ZA" sz="1600" kern="0" dirty="0"/>
              <a:t>Technical Qualitative Requirements Evaluation</a:t>
            </a:r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r>
              <a:rPr lang="en-ZA" sz="1600" kern="0" dirty="0"/>
              <a:t>Laboratory Demonstration – Transducer and software evaluation</a:t>
            </a:r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r>
              <a:rPr lang="en-ZA" sz="1600" kern="0" dirty="0"/>
              <a:t>SCADA Integration and Protocol Testing</a:t>
            </a:r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r>
              <a:rPr lang="en-ZA" sz="1600" kern="0" dirty="0"/>
              <a:t>Deemed Offer Risk(s) Evaluation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95F1F094-5331-2964-1B3F-709AA92962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066D841-776C-9498-60ED-205E0B4437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7</a:t>
            </a:fld>
            <a:endParaRPr lang="en-Z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FFCD6B-9FE8-D7A0-A749-2C4EED65C4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ical Evaluation Stages</a:t>
            </a:r>
          </a:p>
        </p:txBody>
      </p:sp>
    </p:spTree>
    <p:extLst>
      <p:ext uri="{BB962C8B-B14F-4D97-AF65-F5344CB8AC3E}">
        <p14:creationId xmlns:p14="http://schemas.microsoft.com/office/powerpoint/2010/main" val="3798903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0A1AF3-327D-D16A-5D3F-16E5488964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Bef>
                <a:spcPct val="30000"/>
              </a:spcBef>
              <a:spcAft>
                <a:spcPct val="0"/>
              </a:spcAft>
              <a:defRPr/>
            </a:pPr>
            <a:r>
              <a:rPr lang="en-ZA" sz="1600" kern="0" dirty="0"/>
              <a:t>Based on the evaluation of the Tenderer responses provided on the Mandatory Requirements Excel sheet for each item, and the necessary supporting documents provided.</a:t>
            </a:r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r>
              <a:rPr lang="en-ZA" sz="1600" kern="0" dirty="0"/>
              <a:t>Tenderers who do not meet this requirement will not be evaluated further.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95F1F094-5331-2964-1B3F-709AA92962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066D841-776C-9498-60ED-205E0B4437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8</a:t>
            </a:fld>
            <a:endParaRPr lang="en-Z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FFCD6B-9FE8-D7A0-A749-2C4EED65C4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datory Requirements Evalua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1B40576-FD01-B69B-13FC-25641DD931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33856" y="2009605"/>
            <a:ext cx="6739603" cy="4424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36754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0A1AF3-327D-D16A-5D3F-16E5488964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ct val="30000"/>
              </a:spcBef>
              <a:spcAft>
                <a:spcPct val="0"/>
              </a:spcAft>
              <a:defRPr/>
            </a:pPr>
            <a:r>
              <a:rPr lang="en-ZA" sz="1600" kern="0" dirty="0"/>
              <a:t>The tenderers are required to complete the ‘Supplier Equipment Tendered Declaration’ form in Annex A of the Technical Evaluation Criteria document.</a:t>
            </a:r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r>
              <a:rPr lang="en-ZA" sz="1600" kern="0" dirty="0"/>
              <a:t> At NTCSA’s discretion, previously evaluated equipment may be exempt from further technical evaluation, where NTCSA’s specifications have not changed and the tenderer has submitted a technical bid comprising of equipment previously tendered, and having been evaluated as acceptable by Eskom / NTCSA.</a:t>
            </a:r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endParaRPr lang="en-ZA" kern="0" dirty="0"/>
          </a:p>
          <a:p>
            <a:pPr>
              <a:spcBef>
                <a:spcPct val="30000"/>
              </a:spcBef>
              <a:spcAft>
                <a:spcPct val="0"/>
              </a:spcAft>
              <a:defRPr/>
            </a:pPr>
            <a:endParaRPr lang="en-ZA" kern="0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95F1F094-5331-2964-1B3F-709AA92962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066D841-776C-9498-60ED-205E0B4437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9</a:t>
            </a:fld>
            <a:endParaRPr lang="en-Z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FFCD6B-9FE8-D7A0-A749-2C4EED65C4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Supplier Equipment Tendered Declaration Evalu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77781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9s1FQRQK70D8H52w3U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9s1FQRQK70D8H52w3U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heme/theme1.xml><?xml version="1.0" encoding="utf-8"?>
<a:theme xmlns:a="http://schemas.openxmlformats.org/drawingml/2006/main" name="Office Theme">
  <a:themeElements>
    <a:clrScheme name="Eskom Wide">
      <a:dk1>
        <a:srgbClr val="003896"/>
      </a:dk1>
      <a:lt1>
        <a:srgbClr val="FFFFFF"/>
      </a:lt1>
      <a:dk2>
        <a:srgbClr val="83725B"/>
      </a:dk2>
      <a:lt2>
        <a:srgbClr val="DDDDDD"/>
      </a:lt2>
      <a:accent1>
        <a:srgbClr val="003896"/>
      </a:accent1>
      <a:accent2>
        <a:srgbClr val="9B6D56"/>
      </a:accent2>
      <a:accent3>
        <a:srgbClr val="96330F"/>
      </a:accent3>
      <a:accent4>
        <a:srgbClr val="C97A00"/>
      </a:accent4>
      <a:accent5>
        <a:srgbClr val="598787"/>
      </a:accent5>
      <a:accent6>
        <a:srgbClr val="858705"/>
      </a:accent6>
      <a:hlink>
        <a:srgbClr val="83725B"/>
      </a:hlink>
      <a:folHlink>
        <a:srgbClr val="C97A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>
          <a:buClr>
            <a:schemeClr val="bg1">
              <a:lumMod val="50000"/>
            </a:schemeClr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skom Widescreen_Without Visuals" id="{A8DDC17B-1581-4D7F-8C14-7723306C0474}" vid="{AABB89EC-0ED7-46E8-A361-2FD02679C18D}"/>
    </a:ext>
  </a:extLst>
</a:theme>
</file>

<file path=ppt/theme/theme2.xml><?xml version="1.0" encoding="utf-8"?>
<a:theme xmlns:a="http://schemas.openxmlformats.org/drawingml/2006/main" name="Content Slide Master">
  <a:themeElements>
    <a:clrScheme name="Eskom">
      <a:dk1>
        <a:srgbClr val="003896"/>
      </a:dk1>
      <a:lt1>
        <a:srgbClr val="FFFFFF"/>
      </a:lt1>
      <a:dk2>
        <a:srgbClr val="83725B"/>
      </a:dk2>
      <a:lt2>
        <a:srgbClr val="DDDDDD"/>
      </a:lt2>
      <a:accent1>
        <a:srgbClr val="003896"/>
      </a:accent1>
      <a:accent2>
        <a:srgbClr val="9B6D56"/>
      </a:accent2>
      <a:accent3>
        <a:srgbClr val="96330F"/>
      </a:accent3>
      <a:accent4>
        <a:srgbClr val="C97A00"/>
      </a:accent4>
      <a:accent5>
        <a:srgbClr val="598787"/>
      </a:accent5>
      <a:accent6>
        <a:srgbClr val="0DAF2B"/>
      </a:accent6>
      <a:hlink>
        <a:srgbClr val="83725B"/>
      </a:hlink>
      <a:folHlink>
        <a:srgbClr val="C97A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>
          <a:buClr>
            <a:schemeClr val="bg1">
              <a:lumMod val="50000"/>
            </a:schemeClr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1E5B683E-D731-44A3-995F-FBDD736D6143}" vid="{6AEA1211-FEE5-49DA-A65B-5350B454C76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dcbbbe0-33f4-4495-a835-a8d3aeecfc53">
      <Terms xmlns="http://schemas.microsoft.com/office/infopath/2007/PartnerControls"/>
    </lcf76f155ced4ddcb4097134ff3c332f>
    <TaxCatchAll xmlns="c1bba7c4-3cfe-4019-90b1-4f4f2d7a4018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7FD266D1C1FED4CB3FCAC2B8A65254D" ma:contentTypeVersion="15" ma:contentTypeDescription="Create a new document." ma:contentTypeScope="" ma:versionID="31bae44c2d5926684ed7b1d6e208e159">
  <xsd:schema xmlns:xsd="http://www.w3.org/2001/XMLSchema" xmlns:xs="http://www.w3.org/2001/XMLSchema" xmlns:p="http://schemas.microsoft.com/office/2006/metadata/properties" xmlns:ns2="9dcbbbe0-33f4-4495-a835-a8d3aeecfc53" xmlns:ns3="c1bba7c4-3cfe-4019-90b1-4f4f2d7a4018" targetNamespace="http://schemas.microsoft.com/office/2006/metadata/properties" ma:root="true" ma:fieldsID="888f3464c33204888032d12180a4713f" ns2:_="" ns3:_="">
    <xsd:import namespace="9dcbbbe0-33f4-4495-a835-a8d3aeecfc53"/>
    <xsd:import namespace="c1bba7c4-3cfe-4019-90b1-4f4f2d7a401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cbbbe0-33f4-4495-a835-a8d3aeecfc5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e5fa3029-581b-4330-9c67-5ed5a891eaa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8" nillable="true" ma:displayName="Location" ma:indexed="true" ma:internalName="MediaServiceLocation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bba7c4-3cfe-4019-90b1-4f4f2d7a4018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98b541d7-edd8-4d2c-8c53-207f74bde388}" ma:internalName="TaxCatchAll" ma:showField="CatchAllData" ma:web="c1bba7c4-3cfe-4019-90b1-4f4f2d7a401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4D15F72-8B51-4AB2-A549-B466A03DE751}">
  <ds:schemaRefs>
    <ds:schemaRef ds:uri="http://schemas.microsoft.com/office/2006/metadata/properties"/>
    <ds:schemaRef ds:uri="http://schemas.microsoft.com/office/infopath/2007/PartnerControls"/>
    <ds:schemaRef ds:uri="9dcbbbe0-33f4-4495-a835-a8d3aeecfc53"/>
    <ds:schemaRef ds:uri="c1bba7c4-3cfe-4019-90b1-4f4f2d7a4018"/>
  </ds:schemaRefs>
</ds:datastoreItem>
</file>

<file path=customXml/itemProps2.xml><?xml version="1.0" encoding="utf-8"?>
<ds:datastoreItem xmlns:ds="http://schemas.openxmlformats.org/officeDocument/2006/customXml" ds:itemID="{72843052-7C98-4039-A01B-A7D2445D37A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FD12155-2121-4AAF-899B-F13CE19D35A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dcbbbe0-33f4-4495-a835-a8d3aeecfc53"/>
    <ds:schemaRef ds:uri="c1bba7c4-3cfe-4019-90b1-4f4f2d7a401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dd17a35c-9c67-4dda-b948-74ee3b80cf57}" enabled="1" method="Standard" siteId="{93aedbdc-cc67-4652-aa12-d250a876ae79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120</TotalTime>
  <Words>901</Words>
  <Application>Microsoft Office PowerPoint</Application>
  <PresentationFormat>Widescreen</PresentationFormat>
  <Paragraphs>115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Arial</vt:lpstr>
      <vt:lpstr>Calibri</vt:lpstr>
      <vt:lpstr>Courier New</vt:lpstr>
      <vt:lpstr>Wingdings</vt:lpstr>
      <vt:lpstr>Office Theme</vt:lpstr>
      <vt:lpstr>Content Slide Master</vt:lpstr>
      <vt:lpstr>think-cell Slide</vt:lpstr>
      <vt:lpstr>Digital Transducers Enquiry</vt:lpstr>
      <vt:lpstr>Technical Requirements – Digital Transducers</vt:lpstr>
      <vt:lpstr>Technical Specifications – Digital Transducer</vt:lpstr>
      <vt:lpstr>Technical Specifications – Digital Transducer</vt:lpstr>
      <vt:lpstr>Technical Tender Returnables</vt:lpstr>
      <vt:lpstr>Technical Evaluation Criteria– Digital Transducers</vt:lpstr>
      <vt:lpstr>Technical Evaluation Stages</vt:lpstr>
      <vt:lpstr>Mandatory Requirements Evaluation</vt:lpstr>
      <vt:lpstr>Supplier Equipment Tendered Declaration Evaluation</vt:lpstr>
      <vt:lpstr>Technical Qualitative Requirements Evaluation </vt:lpstr>
      <vt:lpstr>Laboratory Demonstration</vt:lpstr>
      <vt:lpstr>SCADA Integration and Testing </vt:lpstr>
      <vt:lpstr>Deemed Offer Risk(s) Evaluation </vt:lpstr>
      <vt:lpstr>Questions</vt:lpstr>
      <vt:lpstr>Thank you</vt:lpstr>
    </vt:vector>
  </TitlesOfParts>
  <Company>Esko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nlie Smit</dc:creator>
  <cp:lastModifiedBy>Samuel Letwaba</cp:lastModifiedBy>
  <cp:revision>85</cp:revision>
  <dcterms:created xsi:type="dcterms:W3CDTF">2020-01-06T09:48:40Z</dcterms:created>
  <dcterms:modified xsi:type="dcterms:W3CDTF">2025-06-04T06:41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7FD266D1C1FED4CB3FCAC2B8A65254D</vt:lpwstr>
  </property>
</Properties>
</file>